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9"/>
  </p:notesMasterIdLst>
  <p:handoutMasterIdLst>
    <p:handoutMasterId r:id="rId10"/>
  </p:handoutMasterIdLst>
  <p:sldIdLst>
    <p:sldId id="288" r:id="rId6"/>
    <p:sldId id="294" r:id="rId7"/>
    <p:sldId id="291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kern="1200" baseline="0">
        <a:solidFill>
          <a:schemeClr val="tx1"/>
        </a:solidFill>
        <a:latin typeface="+mn-lt"/>
        <a:ea typeface="+mn-ea"/>
        <a:cs typeface="+mn-cs"/>
      </a:defRPr>
    </a:lvl1pPr>
    <a:lvl2pPr marL="285750" indent="-28575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400" b="0" kern="1200" baseline="0">
        <a:solidFill>
          <a:schemeClr val="tx1"/>
        </a:solidFill>
        <a:latin typeface="+mn-lt"/>
        <a:ea typeface="+mn-ea"/>
        <a:cs typeface="+mn-cs"/>
      </a:defRPr>
    </a:lvl2pPr>
    <a:lvl3pPr marL="568800" indent="-28440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3pPr>
    <a:lvl4pPr marL="853200" indent="-284400" algn="l" defTabSz="374400" rtl="0" eaLnBrk="1" latinLnBrk="0" hangingPunct="1">
      <a:lnSpc>
        <a:spcPct val="100000"/>
      </a:lnSpc>
      <a:spcBef>
        <a:spcPts val="0"/>
      </a:spcBef>
      <a:spcAft>
        <a:spcPts val="300"/>
      </a:spcAft>
      <a:buSzPct val="100000"/>
      <a:buFont typeface="Arial" panose="020B0604020202020204" pitchFamily="34" charset="0"/>
      <a:buChar char="•"/>
      <a:defRPr sz="1100" kern="1200" baseline="0">
        <a:solidFill>
          <a:schemeClr val="tx1"/>
        </a:solidFill>
        <a:latin typeface="+mn-lt"/>
        <a:ea typeface="+mn-ea"/>
        <a:cs typeface="+mn-cs"/>
      </a:defRPr>
    </a:lvl4pPr>
    <a:lvl5pPr marL="11376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SzPct val="90000"/>
      <a:buFont typeface="Arial" panose="020B0604020202020204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5pPr>
    <a:lvl6pPr marL="14220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900" kern="1200" baseline="0">
        <a:solidFill>
          <a:schemeClr val="tx1"/>
        </a:solidFill>
        <a:latin typeface="+mn-lt"/>
        <a:ea typeface="+mn-ea"/>
        <a:cs typeface="+mn-cs"/>
      </a:defRPr>
    </a:lvl6pPr>
    <a:lvl7pPr marL="17064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800" kern="1200" baseline="0">
        <a:solidFill>
          <a:schemeClr val="tx1"/>
        </a:solidFill>
        <a:latin typeface="+mn-lt"/>
        <a:ea typeface="+mn-ea"/>
        <a:cs typeface="+mn-cs"/>
      </a:defRPr>
    </a:lvl7pPr>
    <a:lvl8pPr marL="19908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700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b="1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Alexander Türger" initials="TAT" lastIdx="1" clrIdx="0">
    <p:extLst>
      <p:ext uri="{19B8F6BF-5375-455C-9EA6-DF929625EA0E}">
        <p15:presenceInfo xmlns:p15="http://schemas.microsoft.com/office/powerpoint/2012/main" userId="Tim Alexander Türg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/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</a:tcBdr>
        <a:fill>
          <a:solidFill>
            <a:schemeClr val="lt2"/>
          </a:solidFill>
        </a:fill>
      </a:tcStyle>
    </a:firstCol>
    <a:lastRow>
      <a:tcTxStyle b="on">
        <a:fontRef idx="minor"/>
        <a:schemeClr val="lt1"/>
      </a:tcTxStyle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/>
          </a:solidFill>
        </a:fill>
      </a:tcStyle>
    </a:lastRow>
    <a:seCell>
      <a:tcTxStyle b="on">
        <a:fontRef idx="minor"/>
        <a:schemeClr val="lt1"/>
      </a:tcTxStyle>
      <a:tcStyle>
        <a:tcBdr>
          <a:top>
            <a:lnRef idx="1">
              <a:srgbClr val="0089B7"/>
            </a:lnRef>
          </a:top>
          <a:bottom>
            <a:lnRef idx="1">
              <a:srgbClr val="0089B7"/>
            </a:lnRef>
          </a:bottom>
        </a:tcBdr>
        <a:fill>
          <a:solidFill>
            <a:srgbClr val="0089B7"/>
          </a:solidFill>
        </a:fill>
      </a:tcStyle>
    </a:seCell>
    <a:firstRow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1"/>
          </a:solidFill>
        </a:fill>
      </a:tcStyle>
    </a:firstRow>
    <a:neCell>
      <a:tcTxStyle b="on">
        <a:fontRef idx="minor"/>
        <a:schemeClr val="lt1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dk2"/>
          </a:solidFill>
        </a:fill>
      </a:tcStyle>
    </a:neCell>
    <a:nwCell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2"/>
          </a:solidFill>
        </a:fill>
      </a:tcStyle>
    </a:nwCell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3600"/>
  </p:normalViewPr>
  <p:slideViewPr>
    <p:cSldViewPr showGuides="1">
      <p:cViewPr varScale="1">
        <p:scale>
          <a:sx n="85" d="100"/>
          <a:sy n="85" d="100"/>
        </p:scale>
        <p:origin x="547" y="115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94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29D2421-AB76-43CF-AC87-2738114998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80600" y="219600"/>
            <a:ext cx="4161046" cy="49477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chemeClr val="tx2"/>
                </a:solidFill>
              </a:rPr>
              <a:t>Use native PPT "Header and Footer" to set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E805F7-C6DC-49D0-9E5F-8126FB8424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411800" y="8784000"/>
            <a:ext cx="14742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6C32FB06-AC8D-42CB-BC9C-84B9A863515E}" type="datetime4">
              <a:rPr lang="en-US" sz="1000">
                <a:solidFill>
                  <a:schemeClr val="tx2"/>
                </a:solidFill>
              </a:rPr>
              <a:t>April 10, 2024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73045-617B-4A11-BFAF-AA37B3D654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9424" y="8784000"/>
            <a:ext cx="3885576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1000" dirty="0">
                <a:solidFill>
                  <a:schemeClr val="tx2"/>
                </a:solidFill>
              </a:rPr>
              <a:t>Use native PPT "Header and Footer" to set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C48BB-715D-460B-AE69-64ECBA4560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56200" y="8784000"/>
            <a:ext cx="51445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0C0E4CA2-648C-49DE-8FF3-D303AA8895AF}" type="slidenum">
              <a:rPr lang="en-US" sz="1000">
                <a:solidFill>
                  <a:schemeClr val="tx2"/>
                </a:solidFill>
              </a:rPr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DF1EABAE-662D-4DE0-A7DF-B858E601D1A0}"/>
              </a:ext>
            </a:extLst>
          </p:cNvPr>
          <p:cNvSpPr/>
          <p:nvPr/>
        </p:nvSpPr>
        <p:spPr bwMode="black">
          <a:xfrm>
            <a:off x="5143038" y="2664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0B4081-D4BA-4211-87D8-80B8B3557A4D}"/>
              </a:ext>
            </a:extLst>
          </p:cNvPr>
          <p:cNvCxnSpPr/>
          <p:nvPr/>
        </p:nvCxnSpPr>
        <p:spPr>
          <a:xfrm>
            <a:off x="3708400" y="1202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E7DC72-6FC6-4647-ACF2-463663CF2E4E}"/>
              </a:ext>
            </a:extLst>
          </p:cNvPr>
          <p:cNvCxnSpPr/>
          <p:nvPr/>
        </p:nvCxnSpPr>
        <p:spPr>
          <a:xfrm>
            <a:off x="3709800" y="1576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044078-D5C4-4E7B-969B-FB66F75C3DE1}"/>
              </a:ext>
            </a:extLst>
          </p:cNvPr>
          <p:cNvCxnSpPr/>
          <p:nvPr/>
        </p:nvCxnSpPr>
        <p:spPr>
          <a:xfrm>
            <a:off x="3711200" y="1951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DC23E9-A2BA-4714-A207-D8690B38D557}"/>
              </a:ext>
            </a:extLst>
          </p:cNvPr>
          <p:cNvCxnSpPr/>
          <p:nvPr/>
        </p:nvCxnSpPr>
        <p:spPr>
          <a:xfrm>
            <a:off x="3712600" y="2325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AF2E7B-0AF5-4F2F-9205-5E02AC1DAD99}"/>
              </a:ext>
            </a:extLst>
          </p:cNvPr>
          <p:cNvCxnSpPr/>
          <p:nvPr/>
        </p:nvCxnSpPr>
        <p:spPr>
          <a:xfrm>
            <a:off x="3714000" y="2700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2EC744A-4121-4C71-91A5-5E700EC64304}"/>
              </a:ext>
            </a:extLst>
          </p:cNvPr>
          <p:cNvCxnSpPr/>
          <p:nvPr/>
        </p:nvCxnSpPr>
        <p:spPr>
          <a:xfrm>
            <a:off x="3709800" y="3823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944704-4FD1-4401-A330-AADD3A0C08F2}"/>
              </a:ext>
            </a:extLst>
          </p:cNvPr>
          <p:cNvCxnSpPr/>
          <p:nvPr/>
        </p:nvCxnSpPr>
        <p:spPr>
          <a:xfrm>
            <a:off x="3711200" y="4197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12487B-2DE2-43EA-8D41-96F4DEB08174}"/>
              </a:ext>
            </a:extLst>
          </p:cNvPr>
          <p:cNvCxnSpPr/>
          <p:nvPr/>
        </p:nvCxnSpPr>
        <p:spPr>
          <a:xfrm>
            <a:off x="3712600" y="4572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6F7128-78F2-45F8-9E03-48A2660DB51B}"/>
              </a:ext>
            </a:extLst>
          </p:cNvPr>
          <p:cNvCxnSpPr/>
          <p:nvPr/>
        </p:nvCxnSpPr>
        <p:spPr>
          <a:xfrm>
            <a:off x="3714000" y="4946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40C1F6-B2AE-409F-AD66-C53E4523F66F}"/>
              </a:ext>
            </a:extLst>
          </p:cNvPr>
          <p:cNvCxnSpPr/>
          <p:nvPr/>
        </p:nvCxnSpPr>
        <p:spPr>
          <a:xfrm>
            <a:off x="3715400" y="532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42B8729-F7A1-4248-BF81-C8AB3EE3A033}"/>
              </a:ext>
            </a:extLst>
          </p:cNvPr>
          <p:cNvCxnSpPr/>
          <p:nvPr/>
        </p:nvCxnSpPr>
        <p:spPr>
          <a:xfrm>
            <a:off x="3711200" y="649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33C7F4F-7F8C-4F62-9A09-25026FF2A3E2}"/>
              </a:ext>
            </a:extLst>
          </p:cNvPr>
          <p:cNvCxnSpPr/>
          <p:nvPr/>
        </p:nvCxnSpPr>
        <p:spPr>
          <a:xfrm>
            <a:off x="3712600" y="6865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62C309B-3ECE-4651-8116-DC625F384BDB}"/>
              </a:ext>
            </a:extLst>
          </p:cNvPr>
          <p:cNvCxnSpPr/>
          <p:nvPr/>
        </p:nvCxnSpPr>
        <p:spPr>
          <a:xfrm>
            <a:off x="3714000" y="7239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3AB9DE-F441-4F49-B095-AEC2B93DEF13}"/>
              </a:ext>
            </a:extLst>
          </p:cNvPr>
          <p:cNvCxnSpPr/>
          <p:nvPr/>
        </p:nvCxnSpPr>
        <p:spPr>
          <a:xfrm>
            <a:off x="3715400" y="7614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0A52033-48AE-4CC3-B03B-36827517010D}"/>
              </a:ext>
            </a:extLst>
          </p:cNvPr>
          <p:cNvCxnSpPr/>
          <p:nvPr/>
        </p:nvCxnSpPr>
        <p:spPr>
          <a:xfrm>
            <a:off x="3716800" y="7988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589459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50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126" userDrawn="1">
          <p15:clr>
            <a:srgbClr val="547EBF"/>
          </p15:clr>
        </p15:guide>
        <p15:guide id="5" pos="2071" userDrawn="1">
          <p15:clr>
            <a:srgbClr val="547EBF"/>
          </p15:clr>
        </p15:guide>
        <p15:guide id="6" pos="2336" userDrawn="1">
          <p15:clr>
            <a:srgbClr val="547EBF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424" y="172800"/>
            <a:ext cx="4587575" cy="4955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lnSpc>
                <a:spcPct val="100000"/>
              </a:lnSpc>
              <a:defRPr sz="16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318200" y="8737200"/>
            <a:ext cx="1684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2658EC27-0245-4AF2-B202-B3DBFC05E02B}" type="datetime4">
              <a:rPr lang="en-US"/>
              <a:t>April 10, 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0600" y="1041400"/>
            <a:ext cx="5990050" cy="336940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79425" y="4598988"/>
            <a:ext cx="5991225" cy="37170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r>
              <a:rPr lang="en-US" dirty="0"/>
              <a:t>	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9425" y="8737200"/>
            <a:ext cx="3838774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03000" y="8737200"/>
            <a:ext cx="467651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129D5E52-2129-4526-A67E-44A5DCA639D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30DDDF2A-A7C0-45C4-9158-4A0DE292D298}"/>
              </a:ext>
            </a:extLst>
          </p:cNvPr>
          <p:cNvSpPr/>
          <p:nvPr/>
        </p:nvSpPr>
        <p:spPr bwMode="black">
          <a:xfrm>
            <a:off x="5143038" y="2196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200" b="1" baseline="0" dirty="0">
              <a:solidFill>
                <a:schemeClr val="tx2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68119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374400" rtl="0" eaLnBrk="1" latinLnBrk="0" hangingPunct="1">
      <a:lnSpc>
        <a:spcPct val="105000"/>
      </a:lnSpc>
      <a:spcAft>
        <a:spcPts val="737"/>
      </a:spcAft>
      <a:defRPr sz="1200" kern="1200" baseline="0">
        <a:solidFill>
          <a:schemeClr val="tx1"/>
        </a:solidFill>
        <a:latin typeface="+mn-lt"/>
        <a:ea typeface="+mn-ea"/>
        <a:cs typeface="+mn-cs"/>
      </a:defRPr>
    </a:lvl1pPr>
    <a:lvl2pPr marL="0" algn="l" defTabSz="374400" rtl="0" eaLnBrk="1" latinLnBrk="0" hangingPunct="1">
      <a:lnSpc>
        <a:spcPct val="105000"/>
      </a:lnSpc>
      <a:spcAft>
        <a:spcPts val="737"/>
      </a:spcAft>
      <a:defRPr sz="1200" b="1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34000" indent="-234000" algn="l" defTabSz="374400" rtl="0" eaLnBrk="1" latinLnBrk="0" hangingPunct="1">
      <a:lnSpc>
        <a:spcPct val="105000"/>
      </a:lnSpc>
      <a:spcAft>
        <a:spcPts val="737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68000" indent="-234000" algn="l" defTabSz="374400" rtl="0" eaLnBrk="1" latinLnBrk="0" hangingPunct="1">
      <a:lnSpc>
        <a:spcPct val="105000"/>
      </a:lnSpc>
      <a:spcAft>
        <a:spcPts val="737"/>
      </a:spcAft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702000" indent="-234000" algn="l" defTabSz="374400" rtl="0" eaLnBrk="1" latinLnBrk="0" hangingPunct="1">
      <a:lnSpc>
        <a:spcPct val="105000"/>
      </a:lnSpc>
      <a:spcAft>
        <a:spcPts val="737"/>
      </a:spcAft>
      <a:buSzPct val="9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34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romanLcPeriod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374400" rtl="0" eaLnBrk="1" latinLnBrk="0" hangingPunct="1">
      <a:lnSpc>
        <a:spcPct val="105000"/>
      </a:lnSpc>
      <a:spcAft>
        <a:spcPts val="737"/>
      </a:spcAft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lnSpc>
        <a:spcPct val="105000"/>
      </a:lnSpc>
      <a:spcAft>
        <a:spcPts val="737"/>
      </a:spcAft>
      <a:defRPr sz="10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21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96" userDrawn="1">
          <p15:clr>
            <a:srgbClr val="547EBF"/>
          </p15:clr>
        </p15:guide>
        <p15:guide id="5" orient="horz" pos="2779" userDrawn="1">
          <p15:clr>
            <a:srgbClr val="547EBF"/>
          </p15:clr>
        </p15:guide>
        <p15:guide id="7" orient="horz" pos="656" userDrawn="1">
          <p15:clr>
            <a:srgbClr val="547EBF"/>
          </p15:clr>
        </p15:guide>
        <p15:guide id="8" orient="horz" pos="2897" userDrawn="1">
          <p15:clr>
            <a:srgbClr val="547EBF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A13A0D2-6E67-4944-A01A-B099FC8B9EE8}" type="datetime4">
              <a:rPr lang="en-US"/>
              <a:t>April 10, 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883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224504F-C231-4292-97DB-1D294A4D17CF}" type="datetime4">
              <a:rPr lang="en-US"/>
              <a:t>April 10, 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57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928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4505325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63DDB710-0227-4EAB-8159-7458BF5EFB73}" type="datetime4">
              <a:rPr lang="en-US"/>
              <a:pPr/>
              <a:t>April 10, 2024</a:t>
            </a:fld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525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325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04799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04799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04799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04799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14409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2433000" cy="4680163"/>
          </a:xfrm>
        </p:spPr>
        <p:txBody>
          <a:bodyPr/>
          <a:lstStyle>
            <a:lvl1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2pPr>
            <a:lvl3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00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5pPr>
            <a:lvl6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7pPr>
            <a:lvl8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369799"/>
            <a:ext cx="2433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369799"/>
            <a:ext cx="243357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369799"/>
            <a:ext cx="2433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DC0EA7D-56F1-4A2B-89B2-9444DEF1AFC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93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3A683AB-5A04-4495-8F42-C4AB3BB4E0B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9837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5242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5241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838325"/>
            <a:ext cx="5241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9BDC80F-B4C1-44FE-ACB2-6206973AA8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1208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838325"/>
            <a:ext cx="336962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838325"/>
            <a:ext cx="336895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838325"/>
            <a:ext cx="3369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45B5099-DAA5-4374-A8EF-055ECA9C9DD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455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2434237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1"/>
            <a:ext cx="2432168" cy="281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243300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838325"/>
            <a:ext cx="2433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838325"/>
            <a:ext cx="243357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838325"/>
            <a:ext cx="2433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CEDC305-A4E2-47D6-8428-DF835B4BE35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8420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7493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800"/>
            <a:ext cx="10857863" cy="3744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3C4E7FB-5B91-46E6-A46C-5488EE2B85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418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öe 2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5242237" cy="7488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>
                <a:solidFill>
                  <a:schemeClr val="accent1"/>
                </a:solidFill>
              </a:defRPr>
            </a:lvl1pPr>
            <a:lvl2pPr>
              <a:defRPr lang="en-US" sz="1600" baseline="0" dirty="0">
                <a:solidFill>
                  <a:schemeClr val="accent1"/>
                </a:solidFill>
              </a:defRPr>
            </a:lvl2pPr>
            <a:lvl3pPr>
              <a:defRPr lang="en-US" sz="16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7488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5800"/>
            <a:ext cx="5241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CA84888-AC81-4564-B0ED-A3AB5BF805A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68373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74859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6013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2305800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2305800"/>
            <a:ext cx="3369863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58311C3C-C296-4B23-8529-7B5E85E2580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650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2434237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0"/>
            <a:ext cx="2432168" cy="7018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050"/>
            <a:ext cx="2433000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2305050"/>
            <a:ext cx="2433288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02399" y="2305050"/>
            <a:ext cx="2433575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2305050"/>
            <a:ext cx="2433863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ACF3B69-8127-4046-A791-57CE4AFBD3D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4949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4D15F24-6B43-40C0-92CA-B20BD4F41C6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377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076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5241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70013"/>
            <a:ext cx="5241862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6010"/>
            <a:ext cx="5242237" cy="140400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4645800"/>
            <a:ext cx="5237781" cy="1404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FE5F86F-552B-4977-B9DD-7E75D9D4FF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6980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1369800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1369800"/>
            <a:ext cx="3369863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3370237" cy="14040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E3B7811-8A70-4E0A-80E6-0BEFC6238E7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9695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4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002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10399" y="1369801"/>
            <a:ext cx="2433863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2434237" cy="14036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4645055"/>
            <a:ext cx="2432168" cy="140474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4645800"/>
            <a:ext cx="2432168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4645800"/>
            <a:ext cx="2433792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37681E4-1BFC-43B2-8037-029FB590810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743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8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838324"/>
            <a:ext cx="5241862" cy="4211425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E41893C4-02D9-4333-95BC-1DA31FA8CEF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757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2"/>
            <a:ext cx="5242237" cy="74880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2AFF231-6E5F-4F60-AA37-7DE0ACD786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248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519750" indent="-285750">
              <a:buNone/>
              <a:defRPr lang="en-US" sz="16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106D8F7-02B1-4160-83C7-46939707B81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053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2400" y="1369800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037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E90AF89-4D3A-4473-BDD4-EB66E735514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6849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DC443F-D5F0-4B85-B2C1-3A4667FC9D7A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6033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24BFB57-36D4-4F2E-ADB1-F2B6DE0714C7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0599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 userDrawn="1">
  <p:cSld name="End slide 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9682933" y="246600"/>
            <a:ext cx="0" cy="8424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11197200" y="115094"/>
            <a:ext cx="203200" cy="2032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BD94D0EC-69AD-4209-B306-81122119E78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2078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02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 userDrawn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5992870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C66D73C7-993F-4C03-B710-2144807F30C5}" type="datetime4">
              <a:rPr lang="en-US"/>
              <a:pPr/>
              <a:t>April 10, 2024</a:t>
            </a:fld>
            <a:endParaRPr lang="en-US" dirty="0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26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926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400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6400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6400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6400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43711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8800" y="0"/>
            <a:ext cx="39432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FE53AA8-8205-44C6-AA7D-3538EAC0F1C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576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 userDrawn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12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500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E854DC7-FAAD-4AD7-A72A-54622E50304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4767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41304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325" y="808200"/>
            <a:ext cx="711358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773800"/>
            <a:ext cx="7113588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1C53B78-E616-423D-9CC7-E40543DBA80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847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369799"/>
            <a:ext cx="5241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71A1833-FAE1-44C3-9B0A-EE1B16BE878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431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336962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369799"/>
            <a:ext cx="3368950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369799"/>
            <a:ext cx="3369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F8F69ED-2428-4A80-94E8-54798B34528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41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128400" y="-127800"/>
            <a:ext cx="12121200" cy="68328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386400" y="1369800"/>
            <a:ext cx="10872000" cy="4680163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70200"/>
            <a:ext cx="12367200" cy="7056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764" y="1370012"/>
            <a:ext cx="10858500" cy="4679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135064" y="6518273"/>
            <a:ext cx="1076536" cy="139926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DEC559E-07BB-4B63-8C94-01E860D5679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3170400" y="22636"/>
            <a:ext cx="2901600" cy="2376764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t"/>
          <a:lstStyle/>
          <a:p>
            <a:pPr algn="l"/>
            <a:r>
              <a:rPr lang="en-US" sz="1200" b="1" dirty="0"/>
              <a:t>Add image</a:t>
            </a:r>
          </a:p>
          <a:p>
            <a:pPr algn="l"/>
            <a:r>
              <a:rPr lang="en-US" sz="1200" dirty="0"/>
              <a:t>To add an image to this slide you can drag an image to the slide. Or click the icon to select the image.</a:t>
            </a:r>
          </a:p>
          <a:p>
            <a:pPr algn="l"/>
            <a:r>
              <a:rPr lang="en-US" sz="1200" dirty="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3170400" y="4892400"/>
            <a:ext cx="2901600" cy="19656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ctr"/>
          <a:lstStyle/>
          <a:p>
            <a:pPr algn="l"/>
            <a:r>
              <a:rPr lang="en-US" sz="1200" b="1" dirty="0"/>
              <a:t>Add footer</a:t>
            </a:r>
          </a:p>
          <a:p>
            <a:pPr algn="l"/>
            <a:r>
              <a:rPr lang="en-US" sz="1200" dirty="0"/>
              <a:t>You can edit the footer (e.g. presentation description, date) using the slide via the </a:t>
            </a:r>
            <a:r>
              <a:rPr lang="en-US" sz="1200" b="1" dirty="0"/>
              <a:t>empower(R) presentation settings.</a:t>
            </a:r>
          </a:p>
          <a:p>
            <a:pPr algn="l"/>
            <a:r>
              <a:rPr lang="en-US" sz="1200" dirty="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8400" y="6518277"/>
            <a:ext cx="8985600" cy="139924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6BB2D-86F7-7E0E-51F4-AD7D39854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80AA4FC3-2611-470F-8F65-3665378A669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C7F7C8-1D47-8548-3BD2-72084A70831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888788" y="6687820"/>
            <a:ext cx="265112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0" r:id="rId2"/>
    <p:sldLayoutId id="2147483679" r:id="rId3"/>
    <p:sldLayoutId id="2147483659" r:id="rId4"/>
    <p:sldLayoutId id="2147483653" r:id="rId5"/>
    <p:sldLayoutId id="2147483672" r:id="rId6"/>
    <p:sldLayoutId id="2147483674" r:id="rId7"/>
    <p:sldLayoutId id="2147483683" r:id="rId8"/>
    <p:sldLayoutId id="2147483682" r:id="rId9"/>
    <p:sldLayoutId id="2147483681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671" r:id="rId27"/>
    <p:sldLayoutId id="2147483678" r:id="rId28"/>
    <p:sldLayoutId id="2147483680" r:id="rId29"/>
  </p:sldLayoutIdLst>
  <p:hf hdr="0"/>
  <p:txStyles>
    <p:titleStyle>
      <a:lvl1pPr algn="l" defTabSz="374400" rtl="0" eaLnBrk="1" latinLnBrk="0" hangingPunct="1">
        <a:lnSpc>
          <a:spcPct val="100000"/>
        </a:lnSpc>
        <a:spcBef>
          <a:spcPct val="0"/>
        </a:spcBef>
        <a:spcAft>
          <a:spcPts val="737"/>
        </a:spcAft>
        <a:buNone/>
        <a:defRPr sz="2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339725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325" indent="-2286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51A955-CFC4-4F04-83D3-B7228211B3DB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EAA70-3028-435F-B1FC-D31DD21790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A4E44F1-7D5E-4F87-918E-B7456E02747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FA7A119-91B3-4EF8-8BAA-ABA30524E73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D6508DA1-A757-4321-A5F7-822E5A794A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8D2F8F6-D39E-421C-9E1D-A0E9BFFD961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10F3688-3D64-41CE-9799-8D7464E0D0C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13D0E2B-4147-4A92-93E9-4BF7D07B2FB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B3B1B1E-8EDF-4CB0-90F2-B82E438C177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39CA04-15E2-4EA1-BC06-208124904FF1}"/>
              </a:ext>
            </a:extLst>
          </p:cNvPr>
          <p:cNvSpPr>
            <a:spLocks noGrp="1"/>
          </p:cNvSpPr>
          <p:nvPr>
            <p:ph type="dt" sz="half" idx="8"/>
          </p:nvPr>
        </p:nvSpPr>
        <p:spPr/>
        <p:txBody>
          <a:bodyPr/>
          <a:lstStyle/>
          <a:p>
            <a:fld id="{63DDB710-0227-4EAB-8159-7458BF5EFB73}" type="datetime4">
              <a:rPr lang="en-US"/>
              <a:pPr/>
              <a:t>April 10, 2024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8BDC45-E43D-F262-BEFB-A25D4E635772}"/>
              </a:ext>
            </a:extLst>
          </p:cNvPr>
          <p:cNvSpPr txBox="1"/>
          <p:nvPr/>
        </p:nvSpPr>
        <p:spPr>
          <a:xfrm>
            <a:off x="4515112" y="4320367"/>
            <a:ext cx="5096401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lt1"/>
                </a:solidFill>
              </a:rPr>
              <a:t>CREATION DATE: YYYY-MM-DD</a:t>
            </a:r>
          </a:p>
        </p:txBody>
      </p:sp>
    </p:spTree>
    <p:extLst>
      <p:ext uri="{BB962C8B-B14F-4D97-AF65-F5344CB8AC3E}">
        <p14:creationId xmlns:p14="http://schemas.microsoft.com/office/powerpoint/2010/main" val="2995711811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72512CE9-93E0-6839-6CD3-A833250F90C2}"/>
              </a:ext>
            </a:extLst>
          </p:cNvPr>
          <p:cNvSpPr/>
          <p:nvPr/>
        </p:nvSpPr>
        <p:spPr>
          <a:xfrm>
            <a:off x="1096486" y="2934186"/>
            <a:ext cx="7437914" cy="29279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68888242-FCC7-4F60-84D4-FD7B20707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1ED1E9E1-C231-A577-E8C1-BA29CF80B55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B64EF1-46CA-BC4D-2E89-AF9F6A4A637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C14CD3A7-9E40-46FB-A41D-9CC29415685D}" type="datetime4">
              <a:rPr lang="en-US"/>
              <a:pPr/>
              <a:t>April 10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F34B85-B5F8-9AA1-E8CA-FE9E8F0BED6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8EF9B8-B25D-F062-5681-ABA68DBEA6A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A2218858-49EA-4BF8-8EFE-B88A4580565A}" type="slidenum">
              <a:rPr/>
              <a:pPr/>
              <a:t>2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A8BF85-C481-F2A1-669F-9355CF411DF5}"/>
              </a:ext>
            </a:extLst>
          </p:cNvPr>
          <p:cNvSpPr/>
          <p:nvPr/>
        </p:nvSpPr>
        <p:spPr>
          <a:xfrm>
            <a:off x="1676400" y="2654524"/>
            <a:ext cx="1752600" cy="469676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CD9F18-7E16-C06F-ABBC-0BF034E2A94D}"/>
              </a:ext>
            </a:extLst>
          </p:cNvPr>
          <p:cNvSpPr/>
          <p:nvPr/>
        </p:nvSpPr>
        <p:spPr>
          <a:xfrm>
            <a:off x="5334000" y="2578324"/>
            <a:ext cx="1752600" cy="469676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BE8B376-790A-076F-FF68-4A5F9F7EA065}"/>
              </a:ext>
            </a:extLst>
          </p:cNvPr>
          <p:cNvSpPr/>
          <p:nvPr/>
        </p:nvSpPr>
        <p:spPr>
          <a:xfrm>
            <a:off x="1828800" y="3770126"/>
            <a:ext cx="5715000" cy="12192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2FAB642-C763-1012-4816-36467711E3D1}"/>
              </a:ext>
            </a:extLst>
          </p:cNvPr>
          <p:cNvCxnSpPr/>
          <p:nvPr/>
        </p:nvCxnSpPr>
        <p:spPr>
          <a:xfrm flipV="1">
            <a:off x="2438400" y="3124200"/>
            <a:ext cx="0" cy="68580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B267D75-D999-46E2-A526-B63BAEA367A1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6210300" y="3048000"/>
            <a:ext cx="0" cy="76200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5A220BDF-1B3E-A1E3-A0C9-80C5C16433A2}"/>
              </a:ext>
            </a:extLst>
          </p:cNvPr>
          <p:cNvSpPr/>
          <p:nvPr/>
        </p:nvSpPr>
        <p:spPr>
          <a:xfrm>
            <a:off x="3352800" y="1467923"/>
            <a:ext cx="2200835" cy="54587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GP  (connec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B16C7A-05E6-DDF4-4AED-E5F4C0C4BD19}"/>
              </a:ext>
            </a:extLst>
          </p:cNvPr>
          <p:cNvSpPr/>
          <p:nvPr/>
        </p:nvSpPr>
        <p:spPr>
          <a:xfrm>
            <a:off x="6553200" y="3255692"/>
            <a:ext cx="1066799" cy="4066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2 </a:t>
            </a:r>
            <a:br>
              <a:rPr lang="en-US" dirty="0"/>
            </a:br>
            <a:r>
              <a:rPr lang="en-US" dirty="0"/>
              <a:t>VLAN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24DC056-5D0E-2074-1787-7DA3A7230BA0}"/>
              </a:ext>
            </a:extLst>
          </p:cNvPr>
          <p:cNvSpPr/>
          <p:nvPr/>
        </p:nvSpPr>
        <p:spPr>
          <a:xfrm>
            <a:off x="1227460" y="3258800"/>
            <a:ext cx="1066799" cy="4066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2 </a:t>
            </a:r>
            <a:br>
              <a:rPr lang="en-US" dirty="0"/>
            </a:br>
            <a:r>
              <a:rPr lang="en-US" dirty="0"/>
              <a:t>VLAN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4B19B8B-7E60-6166-332B-00831A1224BA}"/>
              </a:ext>
            </a:extLst>
          </p:cNvPr>
          <p:cNvCxnSpPr>
            <a:stCxn id="2" idx="0"/>
            <a:endCxn id="15" idx="3"/>
          </p:cNvCxnSpPr>
          <p:nvPr/>
        </p:nvCxnSpPr>
        <p:spPr>
          <a:xfrm flipV="1">
            <a:off x="2552700" y="1933857"/>
            <a:ext cx="1122405" cy="720667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42A1E3C-85F5-33E0-C2F7-1588F008AC32}"/>
              </a:ext>
            </a:extLst>
          </p:cNvPr>
          <p:cNvCxnSpPr>
            <a:stCxn id="3" idx="0"/>
            <a:endCxn id="15" idx="5"/>
          </p:cNvCxnSpPr>
          <p:nvPr/>
        </p:nvCxnSpPr>
        <p:spPr>
          <a:xfrm flipH="1" flipV="1">
            <a:off x="5231330" y="1933857"/>
            <a:ext cx="978970" cy="644467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C1CD94CF-5814-F5CA-648E-F942992A581F}"/>
              </a:ext>
            </a:extLst>
          </p:cNvPr>
          <p:cNvSpPr/>
          <p:nvPr/>
        </p:nvSpPr>
        <p:spPr>
          <a:xfrm>
            <a:off x="7534835" y="1723588"/>
            <a:ext cx="1181100" cy="20491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3OU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02D8ED3-2D5B-6E85-EFFE-99B6237F34F8}"/>
              </a:ext>
            </a:extLst>
          </p:cNvPr>
          <p:cNvSpPr/>
          <p:nvPr/>
        </p:nvSpPr>
        <p:spPr>
          <a:xfrm>
            <a:off x="6134100" y="2191224"/>
            <a:ext cx="838200" cy="13936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highlight>
                <a:srgbClr val="FFFF00"/>
              </a:highlight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DE08CE8-ED76-C576-2DF3-669CBD639FC4}"/>
              </a:ext>
            </a:extLst>
          </p:cNvPr>
          <p:cNvSpPr/>
          <p:nvPr/>
        </p:nvSpPr>
        <p:spPr>
          <a:xfrm>
            <a:off x="1817594" y="2154095"/>
            <a:ext cx="838200" cy="13936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highlight>
                <a:srgbClr val="FFFF00"/>
              </a:highlight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61D2878-CC47-F0CD-B38B-7157D0AC4F22}"/>
              </a:ext>
            </a:extLst>
          </p:cNvPr>
          <p:cNvCxnSpPr>
            <a:cxnSpLocks/>
            <a:stCxn id="29" idx="2"/>
          </p:cNvCxnSpPr>
          <p:nvPr/>
        </p:nvCxnSpPr>
        <p:spPr>
          <a:xfrm>
            <a:off x="2236694" y="2293461"/>
            <a:ext cx="0" cy="352224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01940D4-4C24-04B1-ED81-080D5B360269}"/>
              </a:ext>
            </a:extLst>
          </p:cNvPr>
          <p:cNvCxnSpPr>
            <a:stCxn id="28" idx="2"/>
          </p:cNvCxnSpPr>
          <p:nvPr/>
        </p:nvCxnSpPr>
        <p:spPr>
          <a:xfrm>
            <a:off x="6553200" y="2330590"/>
            <a:ext cx="0" cy="315095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CCAAC334-9C30-81B2-9224-4489A7F0A6BC}"/>
              </a:ext>
            </a:extLst>
          </p:cNvPr>
          <p:cNvSpPr/>
          <p:nvPr/>
        </p:nvSpPr>
        <p:spPr>
          <a:xfrm>
            <a:off x="5367617" y="2576277"/>
            <a:ext cx="1752600" cy="469676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DFC7906-135F-AF3D-9B81-548F647125FE}"/>
              </a:ext>
            </a:extLst>
          </p:cNvPr>
          <p:cNvSpPr/>
          <p:nvPr/>
        </p:nvSpPr>
        <p:spPr>
          <a:xfrm>
            <a:off x="1862417" y="3768079"/>
            <a:ext cx="5715000" cy="12192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CP</a:t>
            </a:r>
          </a:p>
        </p:txBody>
      </p:sp>
    </p:spTree>
    <p:extLst>
      <p:ext uri="{BB962C8B-B14F-4D97-AF65-F5344CB8AC3E}">
        <p14:creationId xmlns:p14="http://schemas.microsoft.com/office/powerpoint/2010/main" val="122022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C9ED04C4-E362-4F45-85DE-0248F62F67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42679498-4AE9-4C7D-97F2-11C5984C7D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A61F027F-65B0-408F-A3E6-CC90A9569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C552F0E8-B9BC-42C1-8CF3-888EEA042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1D5DC003-79B3-4FF5-93A8-66C079FF4D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A252A81-A52D-49DA-B600-03B854944D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1D8BC-CB65-49C2-B634-0E271805606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6555A1-A0C8-4520-AAFB-57D038688A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94D1-5B6E-43D5-B557-CD4050FA4D4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April 10, 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34251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Jw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sKfB5eh8NEpV+F1ZCrp4YFAAAAAAADAAAAAAADAAAAAwADAAAAAAD///////8DAAAAAAD///////8DAAAAAAD///////8DAAEA////////BAAAAAMAEAALtWiF7pGThUi/wwr0b4KT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sKfB5eh8NEpV+F1ZCrp4YDRGF0YQAbAAAABExpbmtlZFNoYXBlRGF0YQAFAAAAAAACTmFtZQAZAAAATGlua2VkU2hhcGVzRGF0YVByb3BlcnR5ABBWZXJzaW9uAAAAAAAJTGFzdFdyaXRlAHjprNF6AQAAAAEA/////50AnQAAAAVfaWQAEAAAAAS1aIXukZOFSL/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a0816322-0148-42d8-b738-2e9d88c75492"/>
  <p:tag name="UNDO_REDO_REVISION" val="232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1bf71b-ffc9-43c9-b0b7-cc5680e30b67"/>
  <p:tag name="MIO_UPDATE" val="True"/>
  <p:tag name="MIO_OBJECTNAME" val="ASML Master"/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DBID" val="0F45B44C-9BC7-4D85-81C4-7155EE70A7B9"/>
  <p:tag name="MIO_VERSION" val="02.03.2023 17:39:23"/>
  <p:tag name="MIO_LASTDOWNLOADED" val="03.07.2023 14:13:13.609"/>
  <p:tag name="MIO_CDID" val="531547a1-6921-4a73-8514-e2d26a6e33a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" id="{DD886285-7891-426D-9C83-DCFE58756A29}" vid="{410BCB75-03C1-4EEB-B28B-5F36D22889DE}"/>
    </a:ext>
  </a:extLst>
</a:theme>
</file>

<file path=ppt/theme/theme2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5c44e8-82e0-472a-a146-da60c58e68e1" xsi:nil="true"/>
    <h299cf7589dc4b75bcd2bf9f19243c76 xmlns="665c44e8-82e0-472a-a146-da60c58e68e1">
      <Terms xmlns="http://schemas.microsoft.com/office/infopath/2007/PartnerControls"/>
    </h299cf7589dc4b75bcd2bf9f19243c76>
  </documentManagement>
</p:properties>
</file>

<file path=customXml/item2.xml><?xml version="1.0" encoding="utf-8"?>
<?mso-contentType ?>
<SharedContentType xmlns="Microsoft.SharePoint.Taxonomy.ContentTypeSync" SourceId="9bb7800a-9dd4-4efa-9404-7ac564e64633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4E30EF25F66C4C959BBFBFD5F6CDFF" ma:contentTypeVersion="4" ma:contentTypeDescription="Create a new document." ma:contentTypeScope="" ma:versionID="8c8d2a293182417ba903838f304e3b3b">
  <xsd:schema xmlns:xsd="http://www.w3.org/2001/XMLSchema" xmlns:xs="http://www.w3.org/2001/XMLSchema" xmlns:p="http://schemas.microsoft.com/office/2006/metadata/properties" xmlns:ns2="665c44e8-82e0-472a-a146-da60c58e68e1" xmlns:ns3="b34eedfc-73f5-4c56-9ed0-8189ca2f8c38" targetNamespace="http://schemas.microsoft.com/office/2006/metadata/properties" ma:root="true" ma:fieldsID="e8a2c615f0d7daa1ac12553b61665d77" ns2:_="" ns3:_="">
    <xsd:import namespace="665c44e8-82e0-472a-a146-da60c58e68e1"/>
    <xsd:import namespace="b34eedfc-73f5-4c56-9ed0-8189ca2f8c38"/>
    <xsd:element name="properties">
      <xsd:complexType>
        <xsd:sequence>
          <xsd:element name="documentManagement">
            <xsd:complexType>
              <xsd:all>
                <xsd:element ref="ns2:h299cf7589dc4b75bcd2bf9f19243c76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c44e8-82e0-472a-a146-da60c58e68e1" elementFormDefault="qualified">
    <xsd:import namespace="http://schemas.microsoft.com/office/2006/documentManagement/types"/>
    <xsd:import namespace="http://schemas.microsoft.com/office/infopath/2007/PartnerControls"/>
    <xsd:element name="h299cf7589dc4b75bcd2bf9f19243c76" ma:index="8" nillable="true" ma:taxonomy="true" ma:internalName="h299cf7589dc4b75bcd2bf9f19243c76" ma:taxonomyFieldName="InformationClassification" ma:displayName="Information Classification" ma:readOnly="false" ma:default="" ma:fieldId="{1299cf75-89dc-4b75-bcd2-bf9f19243c76}" ma:sspId="9bb7800a-9dd4-4efa-9404-7ac564e64633" ma:termSetId="15e70205-4b68-455f-98cc-31f0c369727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d251def-2cf5-4ee4-8762-fa67541bf219}" ma:internalName="TaxCatchAll" ma:showField="CatchAllData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d251def-2cf5-4ee4-8762-fa67541bf219}" ma:internalName="TaxCatchAllLabel" ma:readOnly="true" ma:showField="CatchAllDataLabel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4eedfc-73f5-4c56-9ed0-8189ca2f8c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BCE00E-75BB-4F60-96C8-6C9AA8CDF59F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dcmitype/"/>
    <ds:schemaRef ds:uri="f45196d8-d345-4d19-b276-7560caf3b497"/>
    <ds:schemaRef ds:uri="http://schemas.microsoft.com/office/2006/metadata/properties"/>
    <ds:schemaRef ds:uri="http://purl.org/dc/terms/"/>
    <ds:schemaRef ds:uri="665c44e8-82e0-472a-a146-da60c58e68e1"/>
  </ds:schemaRefs>
</ds:datastoreItem>
</file>

<file path=customXml/itemProps2.xml><?xml version="1.0" encoding="utf-8"?>
<ds:datastoreItem xmlns:ds="http://schemas.openxmlformats.org/officeDocument/2006/customXml" ds:itemID="{39AABE0D-8696-4575-9627-E45713FAEBA3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46DF9B4B-33B2-4D9F-A3B2-FDE137E095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5c44e8-82e0-472a-a146-da60c58e68e1"/>
    <ds:schemaRef ds:uri="b34eedfc-73f5-4c56-9ed0-8189ca2f8c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88DCC1C-B8C4-496B-80A9-13A9E9C2B0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74</Words>
  <Application>Microsoft Office PowerPoint</Application>
  <PresentationFormat>Widescreen</PresentationFormat>
  <Paragraphs>24</Paragraphs>
  <Slides>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Arial</vt:lpstr>
      <vt:lpstr>ASML Template 2021</vt:lpstr>
      <vt:lpstr>PowerPoint Presentation</vt:lpstr>
      <vt:lpstr>PowerPoint Presentation</vt:lpstr>
      <vt:lpstr>PowerPoint Presentation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liam Kimandu</dc:creator>
  <cp:lastModifiedBy>William Kimandu</cp:lastModifiedBy>
  <cp:revision>1</cp:revision>
  <dcterms:created xsi:type="dcterms:W3CDTF">2024-04-10T08:39:21Z</dcterms:created>
  <dcterms:modified xsi:type="dcterms:W3CDTF">2024-04-10T14:25:11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E30EF25F66C4C959BBFBFD5F6CDFF</vt:lpwstr>
  </property>
  <property fmtid="{D5CDD505-2E9C-101B-9397-08002B2CF9AE}" pid="3" name="InformationClassification">
    <vt:lpwstr/>
  </property>
  <property fmtid="{D5CDD505-2E9C-101B-9397-08002B2CF9AE}" pid="4" name="MSIP_Label_229eea9c-5281-4377-b6bc-afc76db9d7b4_Enabled">
    <vt:lpwstr>true</vt:lpwstr>
  </property>
  <property fmtid="{D5CDD505-2E9C-101B-9397-08002B2CF9AE}" pid="5" name="MSIP_Label_229eea9c-5281-4377-b6bc-afc76db9d7b4_SetDate">
    <vt:lpwstr>2024-04-10T14:25:10Z</vt:lpwstr>
  </property>
  <property fmtid="{D5CDD505-2E9C-101B-9397-08002B2CF9AE}" pid="6" name="MSIP_Label_229eea9c-5281-4377-b6bc-afc76db9d7b4_Method">
    <vt:lpwstr>Privileged</vt:lpwstr>
  </property>
  <property fmtid="{D5CDD505-2E9C-101B-9397-08002B2CF9AE}" pid="7" name="MSIP_Label_229eea9c-5281-4377-b6bc-afc76db9d7b4_Name">
    <vt:lpwstr>229eea9c-5281-4377-b6bc-afc76db9d7b4</vt:lpwstr>
  </property>
  <property fmtid="{D5CDD505-2E9C-101B-9397-08002B2CF9AE}" pid="8" name="MSIP_Label_229eea9c-5281-4377-b6bc-afc76db9d7b4_SiteId">
    <vt:lpwstr>af73baa8-f594-4eb2-a39d-93e96cad61fc</vt:lpwstr>
  </property>
  <property fmtid="{D5CDD505-2E9C-101B-9397-08002B2CF9AE}" pid="9" name="MSIP_Label_229eea9c-5281-4377-b6bc-afc76db9d7b4_ActionId">
    <vt:lpwstr>e4d69ad2-f7cd-475e-850c-9036fb9b773f</vt:lpwstr>
  </property>
  <property fmtid="{D5CDD505-2E9C-101B-9397-08002B2CF9AE}" pid="10" name="MSIP_Label_229eea9c-5281-4377-b6bc-afc76db9d7b4_ContentBits">
    <vt:lpwstr>2</vt:lpwstr>
  </property>
  <property fmtid="{D5CDD505-2E9C-101B-9397-08002B2CF9AE}" pid="11" name="ClassificationContentMarkingFooterLocations">
    <vt:lpwstr>ASML Template 2021:9</vt:lpwstr>
  </property>
  <property fmtid="{D5CDD505-2E9C-101B-9397-08002B2CF9AE}" pid="12" name="ClassificationContentMarkingFooterText">
    <vt:lpwstr>Public</vt:lpwstr>
  </property>
</Properties>
</file>

<file path=userCustomization/customUI.xml><?xml version="1.0" encoding="utf-8"?>
<mso:customUI xmlns:doc="http://schemas.microsoft.com/office/2006/01/customui/currentDocument" xmlns:mso="http://schemas.microsoft.com/office/2006/01/customui">
  <mso:ribbon>
    <mso:qat>
      <mso:documentControls>
        <mso:control idQ="mso:ClassifyLabelProtect" visible="true"/>
      </mso:documentControls>
    </mso:qat>
  </mso:ribbon>
</mso:customUI>
</file>